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sldIdLst>
    <p:sldId id="256" r:id="rId2"/>
    <p:sldId id="257" r:id="rId3"/>
    <p:sldId id="261" r:id="rId4"/>
    <p:sldId id="267" r:id="rId5"/>
    <p:sldId id="271" r:id="rId6"/>
    <p:sldId id="272" r:id="rId7"/>
    <p:sldId id="268" r:id="rId8"/>
    <p:sldId id="269" r:id="rId9"/>
    <p:sldId id="270" r:id="rId10"/>
    <p:sldId id="266" r:id="rId11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6" d="100"/>
          <a:sy n="76" d="100"/>
        </p:scale>
        <p:origin x="-1206" y="2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885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75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941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7479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478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032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702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701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277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930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14215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1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044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16175"/>
            <a:ext cx="7772400" cy="1470025"/>
          </a:xfrm>
        </p:spPr>
        <p:txBody>
          <a:bodyPr>
            <a:normAutofit/>
          </a:bodyPr>
          <a:lstStyle/>
          <a:p>
            <a:r>
              <a:rPr lang="en-US" sz="6000" b="1" dirty="0" smtClean="0"/>
              <a:t>API Management</a:t>
            </a:r>
            <a:endParaRPr lang="en-US" sz="6000" b="1" dirty="0"/>
          </a:p>
        </p:txBody>
      </p:sp>
    </p:spTree>
    <p:extLst>
      <p:ext uri="{BB962C8B-B14F-4D97-AF65-F5344CB8AC3E}">
        <p14:creationId xmlns:p14="http://schemas.microsoft.com/office/powerpoint/2010/main" val="634084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643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4038600"/>
            <a:ext cx="1714500" cy="1714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b="1" dirty="0"/>
              <a:t>Thank You !!</a:t>
            </a:r>
          </a:p>
        </p:txBody>
      </p:sp>
      <p:sp>
        <p:nvSpPr>
          <p:cNvPr id="3" name="Rectangle 3"/>
          <p:cNvSpPr txBox="1"/>
          <p:nvPr/>
        </p:nvSpPr>
        <p:spPr>
          <a:xfrm>
            <a:off x="1066800" y="4673025"/>
            <a:ext cx="7924800" cy="76944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4400" dirty="0" smtClean="0"/>
              <a:t>It is time for questions !!</a:t>
            </a:r>
            <a:endParaRPr lang="en-US" sz="4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187" y="2076450"/>
            <a:ext cx="2333625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64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>
            <a:normAutofit/>
          </a:bodyPr>
          <a:lstStyle/>
          <a:p>
            <a:r>
              <a:rPr lang="en-US" sz="5400" b="1" dirty="0" smtClean="0"/>
              <a:t>Appendix</a:t>
            </a:r>
            <a:endParaRPr lang="en-US" sz="5400" b="1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566071"/>
            <a:ext cx="8229600" cy="1720471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457200" lvl="1" indent="-457200">
              <a:buFont typeface="Arial" pitchFamily="34" charset="0"/>
              <a:buChar char="•"/>
            </a:pPr>
            <a:r>
              <a:rPr lang="en-US" sz="2300" dirty="0" smtClean="0"/>
              <a:t>What is API?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en-US" sz="2300" dirty="0" smtClean="0"/>
              <a:t>Structure of API in Rails 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en-US" sz="2300" dirty="0" smtClean="0"/>
              <a:t>Creating APIs in Rails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en-US" sz="2300" dirty="0" smtClean="0"/>
              <a:t>Calling APIs in Rails</a:t>
            </a:r>
            <a:endParaRPr lang="en-US" sz="2300" dirty="0" smtClean="0"/>
          </a:p>
        </p:txBody>
      </p:sp>
    </p:spTree>
    <p:extLst>
      <p:ext uri="{BB962C8B-B14F-4D97-AF65-F5344CB8AC3E}">
        <p14:creationId xmlns:p14="http://schemas.microsoft.com/office/powerpoint/2010/main" val="2303226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b="1" dirty="0" smtClean="0"/>
              <a:t>What is API?</a:t>
            </a:r>
            <a:endParaRPr lang="en-US" sz="5400" b="1" dirty="0"/>
          </a:p>
        </p:txBody>
      </p:sp>
      <p:sp>
        <p:nvSpPr>
          <p:cNvPr id="3" name="Rectangle 3"/>
          <p:cNvSpPr txBox="1"/>
          <p:nvPr/>
        </p:nvSpPr>
        <p:spPr>
          <a:xfrm>
            <a:off x="457200" y="1600200"/>
            <a:ext cx="8229600" cy="137268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600" dirty="0"/>
              <a:t>An application programming interface (API) is a particular set of </a:t>
            </a:r>
            <a:r>
              <a:rPr lang="en-US" sz="1600" b="1" dirty="0"/>
              <a:t>rules ('code') and specifications that software programs can follow to communicate with each other</a:t>
            </a:r>
            <a:r>
              <a:rPr lang="en-US" sz="1600" dirty="0"/>
              <a:t>. </a:t>
            </a: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r>
              <a:rPr lang="en-US" sz="1600" dirty="0" smtClean="0"/>
              <a:t>It </a:t>
            </a:r>
            <a:r>
              <a:rPr lang="en-US" sz="1600" dirty="0"/>
              <a:t>serves as an interface between different software programs and facilitates their interaction, similar to the way the user interface facilitates interaction between humans and computers.</a:t>
            </a:r>
            <a:endParaRPr lang="en-US" sz="1600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3218392"/>
            <a:ext cx="4724400" cy="2420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1764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b="1" dirty="0" smtClean="0"/>
              <a:t>Structure of API</a:t>
            </a:r>
            <a:endParaRPr lang="en-US" sz="5400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1219200"/>
            <a:ext cx="2514600" cy="5237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27266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an API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238" y="1905000"/>
            <a:ext cx="6105525" cy="429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5605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ng routes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2057400"/>
            <a:ext cx="5667375" cy="3322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381538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ling an API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2514600"/>
            <a:ext cx="5638800" cy="3790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295400"/>
            <a:ext cx="5067300" cy="98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781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ling an API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88" y="1838325"/>
            <a:ext cx="7362825" cy="318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41128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ling an API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727548"/>
            <a:ext cx="3867150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2563138"/>
            <a:ext cx="6153150" cy="275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5638800"/>
            <a:ext cx="3876675" cy="103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536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4</TotalTime>
  <Words>62</Words>
  <Application>Microsoft Office PowerPoint</Application>
  <PresentationFormat>On-screen Show (4:3)</PresentationFormat>
  <Paragraphs>17</Paragraphs>
  <Slides>1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API Management</vt:lpstr>
      <vt:lpstr>Appendix</vt:lpstr>
      <vt:lpstr>What is API?</vt:lpstr>
      <vt:lpstr>Structure of API</vt:lpstr>
      <vt:lpstr>Creating an API</vt:lpstr>
      <vt:lpstr>Adding routes</vt:lpstr>
      <vt:lpstr>Calling an API</vt:lpstr>
      <vt:lpstr>Calling an API</vt:lpstr>
      <vt:lpstr>Calling an API</vt:lpstr>
      <vt:lpstr>Thank You !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ews in Rails</dc:title>
  <dc:creator>Aastha Kesarwani-TCS</dc:creator>
  <cp:lastModifiedBy>Nikita Singh</cp:lastModifiedBy>
  <cp:revision>117</cp:revision>
  <dcterms:created xsi:type="dcterms:W3CDTF">2006-08-16T00:00:00Z</dcterms:created>
  <dcterms:modified xsi:type="dcterms:W3CDTF">2015-05-14T10:5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